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3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4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5.xml" ContentType="application/vnd.openxmlformats-officedocument.presentationml.notesSlide+xml"/>
  <Override PartName="/ppt/tags/tag141.xml" ContentType="application/vnd.openxmlformats-officedocument.presentationml.tags+xml"/>
  <Override PartName="/ppt/notesSlides/notesSlide6.xml" ContentType="application/vnd.openxmlformats-officedocument.presentationml.notesSlide+xml"/>
  <Override PartName="/ppt/tags/tag142.xml" ContentType="application/vnd.openxmlformats-officedocument.presentationml.tags+xml"/>
  <Override PartName="/ppt/notesSlides/notesSlide7.xml" ContentType="application/vnd.openxmlformats-officedocument.presentationml.notesSlide+xml"/>
  <Override PartName="/ppt/tags/tag143.xml" ContentType="application/vnd.openxmlformats-officedocument.presentationml.tags+xml"/>
  <Override PartName="/ppt/notesSlides/notesSlide8.xml" ContentType="application/vnd.openxmlformats-officedocument.presentationml.notesSlide+xml"/>
  <Override PartName="/ppt/tags/tag144.xml" ContentType="application/vnd.openxmlformats-officedocument.presentationml.tags+xml"/>
  <Override PartName="/ppt/notesSlides/notesSlide9.xml" ContentType="application/vnd.openxmlformats-officedocument.presentationml.notesSlide+xml"/>
  <Override PartName="/ppt/tags/tag145.xml" ContentType="application/vnd.openxmlformats-officedocument.presentationml.tags+xml"/>
  <Override PartName="/ppt/notesSlides/notesSlide10.xml" ContentType="application/vnd.openxmlformats-officedocument.presentationml.notesSlide+xml"/>
  <Override PartName="/ppt/tags/tag146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62" r:id="rId2"/>
    <p:sldId id="284" r:id="rId3"/>
    <p:sldId id="326" r:id="rId4"/>
    <p:sldId id="327" r:id="rId5"/>
    <p:sldId id="328" r:id="rId6"/>
    <p:sldId id="329" r:id="rId7"/>
    <p:sldId id="330" r:id="rId8"/>
    <p:sldId id="331" r:id="rId9"/>
    <p:sldId id="334" r:id="rId10"/>
    <p:sldId id="332" r:id="rId11"/>
    <p:sldId id="333" r:id="rId12"/>
  </p:sldIdLst>
  <p:sldSz cx="9144000" cy="6858000" type="screen4x3"/>
  <p:notesSz cx="6797675" cy="9926638"/>
  <p:custDataLst>
    <p:tags r:id="rId15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aurent" initials="L" lastIdx="1" clrIdx="0"/>
  <p:cmAuthor id="1" name="Michel-Clément Joëlle" initials="MJ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2C77"/>
    <a:srgbClr val="993300"/>
    <a:srgbClr val="004DB4"/>
    <a:srgbClr val="006600"/>
    <a:srgbClr val="333333"/>
    <a:srgbClr val="00A0DB"/>
    <a:srgbClr val="BFDBFD"/>
    <a:srgbClr val="AED1FC"/>
    <a:srgbClr val="A3CBFB"/>
    <a:srgbClr val="0A7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61" autoAdjust="0"/>
    <p:restoredTop sz="94611" autoAdjust="0"/>
  </p:normalViewPr>
  <p:slideViewPr>
    <p:cSldViewPr snapToObjects="1" showGuides="1">
      <p:cViewPr varScale="1">
        <p:scale>
          <a:sx n="115" d="100"/>
          <a:sy n="115" d="100"/>
        </p:scale>
        <p:origin x="1878" y="108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46" d="100"/>
          <a:sy n="46" d="100"/>
        </p:scale>
        <p:origin x="2352" y="6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41E71D-267E-43EF-804E-9DD3289E2AC6}" type="datetimeFigureOut">
              <a:rPr lang="fr-CH" smtClean="0"/>
              <a:pPr/>
              <a:t>18.09.2019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E27AA0-9FB6-4DD0-B556-B2EFC565384B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416561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18.09.2019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6517274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 smtClean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8565449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0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8274065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1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33322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722026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60627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5502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8712636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4305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920762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0434563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9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043456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65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10" Type="http://schemas.openxmlformats.org/officeDocument/2006/relationships/tags" Target="../tags/tag73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05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0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3.xml"/><Relationship Id="rId9" Type="http://schemas.openxmlformats.org/officeDocument/2006/relationships/tags" Target="../tags/tag108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4" Type="http://schemas.openxmlformats.org/officeDocument/2006/relationships/tags" Target="../tags/tag111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oleObject" Target="../embeddings/oleObject9.bin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vmlDrawing" Target="../drawings/vmlDrawing9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55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3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de-DE"/>
              <a:t>Cliquer pour insérer un titre</a:t>
            </a:r>
            <a:br>
              <a:rPr lang="de-DE"/>
            </a:br>
            <a:r>
              <a:rPr lang="de-DE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de-DE">
                <a:cs typeface="+mn-cs"/>
              </a:rPr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5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de-DE" sz="1000" b="1"/>
              <a:t>Service cantonal de la santé publique (SSP) </a:t>
            </a:r>
            <a:endParaRPr lang="fr-CH" sz="1000" b="0" i="0" dirty="0" smtClean="0"/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de-DE" sz="1000" b="1"/>
              <a:t>Amt für Gesundheit (GesA) </a:t>
            </a:r>
            <a:endParaRPr lang="fr-CH" sz="1000" b="0" i="0" dirty="0" smtClean="0"/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de-DE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de-DE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de-DE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4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6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8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5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2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4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de-DE" b="1"/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de-DE" b="1"/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de-DE" b="1"/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de-DE" b="1"/>
              <a:t>Quatrième nivea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24706" y="304800"/>
            <a:ext cx="8507288" cy="189795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Impfungen</a:t>
            </a:r>
            <a:br>
              <a:rPr lang="de-DE"/>
            </a:br>
            <a:r>
              <a:rPr lang="de-DE"/>
              <a:t>in den Apotheken des Kantons Freiburg</a:t>
            </a:r>
            <a:br>
              <a:rPr lang="de-DE"/>
            </a:br>
            <a:r>
              <a:rPr lang="de-DE"/>
              <a:t>— 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345314" y="2420888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ligne 2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de-DE"/>
              <a:t>Titelmasterformat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0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de-DE"/>
              <a:t>Titelmasterformat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de-DE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2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de-DE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bearbei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de-DE"/>
              <a:t>Cliquez pour modifier les styles du texte du masque</a:t>
            </a:r>
          </a:p>
          <a:p>
            <a:pPr lvl="1"/>
            <a:r>
              <a:rPr lang="de-DE"/>
              <a:t>Deuxième niveau</a:t>
            </a:r>
          </a:p>
          <a:p>
            <a:pPr lvl="2"/>
            <a:r>
              <a:rPr lang="de-DE"/>
              <a:t>Troisième niveau</a:t>
            </a:r>
          </a:p>
          <a:p>
            <a:pPr lvl="3"/>
            <a:r>
              <a:rPr lang="de-DE"/>
              <a:t>Quatrième niveau</a:t>
            </a:r>
          </a:p>
          <a:p>
            <a:pPr lvl="4"/>
            <a:r>
              <a:rPr lang="de-DE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>
                <a:cs typeface="+mn-cs"/>
              </a:rPr>
              <a:t>Untertitel</a:t>
            </a:r>
            <a:endParaRPr lang="fr-CH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AutoShape 3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itre exemp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exte principal</a:t>
            </a:r>
          </a:p>
          <a:p>
            <a:pPr lvl="1"/>
            <a:r>
              <a:rPr lang="de-DE"/>
              <a:t>Premier niveau</a:t>
            </a:r>
          </a:p>
          <a:p>
            <a:pPr lvl="2"/>
            <a:r>
              <a:rPr lang="de-DE"/>
              <a:t>Deuxième niveau</a:t>
            </a:r>
          </a:p>
          <a:p>
            <a:pPr lvl="3"/>
            <a:r>
              <a:rPr lang="de-DE"/>
              <a:t>Troisième niveau</a:t>
            </a:r>
          </a:p>
          <a:p>
            <a:pPr lvl="4"/>
            <a:r>
              <a:rPr lang="de-DE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25"/>
            </p:custDataLst>
          </p:nvPr>
        </p:nvSpPr>
        <p:spPr>
          <a:xfrm>
            <a:off x="2516400" y="6314400"/>
            <a:ext cx="5367968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de-DE" sz="1000" b="1"/>
              <a:t>Amt für Gesundheit </a:t>
            </a:r>
            <a:endParaRPr lang="fr-CH" sz="1000" b="0" i="0" dirty="0" smtClean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de-DE" sz="1000"/>
              <a:t>Impfungen durch Apotheker/innen des Kantons Freiburg / Akt. Sept. 2019 </a:t>
            </a:r>
          </a:p>
        </p:txBody>
      </p:sp>
      <p:cxnSp>
        <p:nvCxnSpPr>
          <p:cNvPr id="14" name="Straight Connector 13"/>
          <p:cNvCxnSpPr/>
          <p:nvPr>
            <p:custDataLst>
              <p:tags r:id="rId26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2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36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38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4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26.vml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7.vml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2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455612" y="2808088"/>
            <a:ext cx="8289925" cy="1897955"/>
          </a:xfrm>
        </p:spPr>
        <p:txBody>
          <a:bodyPr/>
          <a:lstStyle/>
          <a:p>
            <a:pPr eaLnBrk="1" hangingPunct="1"/>
            <a:r>
              <a:rPr lang="de-DE" dirty="0" smtClean="0"/>
              <a:t>Impfung durch </a:t>
            </a:r>
            <a:r>
              <a:rPr lang="de-DE" dirty="0"/>
              <a:t>die Apothekerinnen und </a:t>
            </a:r>
            <a:r>
              <a:rPr lang="de-DE" dirty="0" smtClean="0"/>
              <a:t>Apotheker in </a:t>
            </a:r>
            <a:r>
              <a:rPr lang="de-DE" dirty="0"/>
              <a:t>den öffentlichen Apotheken</a:t>
            </a:r>
            <a:br>
              <a:rPr lang="de-DE" dirty="0"/>
            </a:br>
            <a:r>
              <a:rPr lang="de-DE" dirty="0"/>
              <a:t>des Kantons </a:t>
            </a:r>
            <a:r>
              <a:rPr lang="de-DE" dirty="0" smtClean="0"/>
              <a:t>Freiburg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—</a:t>
            </a:r>
            <a:endParaRPr lang="fr-CH" dirty="0"/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55613" y="1659027"/>
            <a:ext cx="8289925" cy="276999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de-DE" dirty="0"/>
              <a:t>Freiburg, 11. September 2019 </a:t>
            </a:r>
            <a:endParaRPr lang="fr-CH" b="1" dirty="0"/>
          </a:p>
        </p:txBody>
      </p:sp>
      <p:sp>
        <p:nvSpPr>
          <p:cNvPr id="2" name="ZoneTexte 1"/>
          <p:cNvSpPr txBox="1"/>
          <p:nvPr/>
        </p:nvSpPr>
        <p:spPr>
          <a:xfrm>
            <a:off x="4572000" y="6309320"/>
            <a:ext cx="4173538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DE" sz="800" b="1" dirty="0"/>
              <a:t>602_190911_PP_Vaccinations dans les </a:t>
            </a:r>
            <a:r>
              <a:rPr lang="de-DE" sz="800" b="1" dirty="0" err="1"/>
              <a:t>pharmacies</a:t>
            </a:r>
            <a:r>
              <a:rPr lang="de-DE" sz="800" b="1" dirty="0"/>
              <a:t> du </a:t>
            </a:r>
            <a:r>
              <a:rPr lang="de-DE" sz="800" b="1" dirty="0" err="1"/>
              <a:t>canton</a:t>
            </a:r>
            <a:r>
              <a:rPr lang="de-DE" sz="800" b="1" dirty="0"/>
              <a:t> </a:t>
            </a:r>
            <a:r>
              <a:rPr lang="de-DE" sz="800" b="1" dirty="0" err="1"/>
              <a:t>FR_nvelle</a:t>
            </a:r>
            <a:r>
              <a:rPr lang="de-DE" sz="800" b="1" dirty="0"/>
              <a:t> </a:t>
            </a:r>
            <a:r>
              <a:rPr lang="de-DE" sz="800" b="1" dirty="0" err="1" smtClean="0"/>
              <a:t>version_D</a:t>
            </a:r>
            <a:r>
              <a:rPr lang="de-DE" sz="800" b="1" dirty="0" smtClean="0"/>
              <a:t> </a:t>
            </a:r>
            <a:endParaRPr lang="fr-FR" sz="800" b="1" dirty="0" err="1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Verstösse ‒ Konsequenz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523364" y="1677813"/>
            <a:ext cx="76906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/>
              <a:t>Apotheker/innen, die Impfungen durchführen, ohne die nötigen Anforderungen zu erfüllen, können administrativ oder strafrechtlich verfolgt werden. </a:t>
            </a:r>
            <a:endParaRPr lang="fr-CH" sz="2400" b="1" dirty="0"/>
          </a:p>
        </p:txBody>
      </p:sp>
      <p:pic>
        <p:nvPicPr>
          <p:cNvPr id="241670" name="Picture 6" descr="http://www.adisesactive.fr/wp-content/uploads/2015/07/attentio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778" y="3501008"/>
            <a:ext cx="2420342" cy="209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2550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Elektronisches Impfbüchlei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83568" y="2014488"/>
            <a:ext cx="76906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/>
              <a:t>Die Apothekerinnen und Apotheker </a:t>
            </a:r>
          </a:p>
          <a:p>
            <a:r>
              <a:rPr lang="de-DE" sz="2400" dirty="0"/>
              <a:t>unterstützen die Bevölkerung bei der Eröffnung </a:t>
            </a:r>
          </a:p>
          <a:p>
            <a:r>
              <a:rPr lang="de-DE" sz="2400" dirty="0"/>
              <a:t>eines elektronischen </a:t>
            </a:r>
            <a:r>
              <a:rPr lang="de-DE" sz="2400" dirty="0" smtClean="0"/>
              <a:t>Impfbüchleins, das </a:t>
            </a:r>
            <a:r>
              <a:rPr lang="de-DE" sz="2400" dirty="0"/>
              <a:t>im Bedarfsfall immer und überall eingesehen werden </a:t>
            </a:r>
            <a:r>
              <a:rPr lang="de-DE" sz="2400" dirty="0" smtClean="0"/>
              <a:t>kann.</a:t>
            </a:r>
            <a:endParaRPr lang="de-DE" sz="2400" dirty="0"/>
          </a:p>
        </p:txBody>
      </p:sp>
      <p:pic>
        <p:nvPicPr>
          <p:cNvPr id="242693" name="Picture 5" descr="https://www.mesvaccins.ch/images/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744" y="4486569"/>
            <a:ext cx="3542456" cy="999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415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Ziel und Zielpublikum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39553" y="2047782"/>
            <a:ext cx="8027454" cy="1554272"/>
          </a:xfrm>
        </p:spPr>
        <p:txBody>
          <a:bodyPr/>
          <a:lstStyle/>
          <a:p>
            <a:pPr algn="just"/>
            <a:r>
              <a:rPr lang="de-DE" sz="2400" dirty="0">
                <a:cs typeface="ＭＳ Ｐゴシック"/>
              </a:rPr>
              <a:t>Breiteres Impfangebot für die Bevölkerung zwecks Anhebung der </a:t>
            </a:r>
            <a:r>
              <a:rPr lang="de-DE" sz="2400" dirty="0" smtClean="0">
                <a:cs typeface="ＭＳ Ｐゴシック"/>
              </a:rPr>
              <a:t>Impfquote, </a:t>
            </a:r>
            <a:r>
              <a:rPr lang="de-DE" sz="2400" dirty="0">
                <a:cs typeface="ＭＳ Ｐゴシック"/>
              </a:rPr>
              <a:t>im Interesse der öffentlichen Gesundheit. </a:t>
            </a:r>
            <a:endParaRPr lang="fr-FR" sz="2400" dirty="0" smtClean="0"/>
          </a:p>
          <a:p>
            <a:endParaRPr lang="fr-FR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39552" y="1512466"/>
            <a:ext cx="8027454" cy="369332"/>
          </a:xfrm>
        </p:spPr>
        <p:txBody>
          <a:bodyPr/>
          <a:lstStyle/>
          <a:p>
            <a:r>
              <a:rPr lang="de-DE">
                <a:solidFill>
                  <a:srgbClr val="004DB4"/>
                </a:solidFill>
                <a:latin typeface="Arial Black"/>
                <a:sym typeface="Arial Black"/>
              </a:rPr>
              <a:t>Ziel </a:t>
            </a:r>
            <a:endParaRPr lang="fr-CH" dirty="0">
              <a:solidFill>
                <a:srgbClr val="004DB4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67544" y="4205563"/>
            <a:ext cx="80274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de-DE" sz="2400"/>
              <a:t>Personen ab 16 Jahren bei guter Gesundheit, die nicht zwingend einen Arztbesuch benötigen. </a:t>
            </a:r>
            <a:endParaRPr lang="fr-FR" sz="2400" dirty="0"/>
          </a:p>
        </p:txBody>
      </p:sp>
      <p:sp>
        <p:nvSpPr>
          <p:cNvPr id="7" name="Textplatzhalter 5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39552" y="3768038"/>
            <a:ext cx="8027453" cy="383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004DB4"/>
                </a:solidFill>
                <a:latin typeface="Arial Black"/>
                <a:sym typeface="Arial Black"/>
              </a:rPr>
              <a:t>Zielpublikum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9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Impfangebot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17958" y="2462476"/>
            <a:ext cx="8027454" cy="2893100"/>
          </a:xfrm>
        </p:spPr>
        <p:txBody>
          <a:bodyPr/>
          <a:lstStyle/>
          <a:p>
            <a:pPr algn="just"/>
            <a:r>
              <a:rPr lang="de-DE" sz="2400" dirty="0">
                <a:cs typeface="ＭＳ Ｐゴシック"/>
              </a:rPr>
              <a:t>Seit dem 1. September</a:t>
            </a:r>
            <a:r>
              <a:rPr lang="de-DE" sz="2400" baseline="30000" dirty="0">
                <a:cs typeface="ＭＳ Ｐゴシック"/>
              </a:rPr>
              <a:t> </a:t>
            </a:r>
            <a:r>
              <a:rPr lang="de-DE" sz="2400" dirty="0">
                <a:cs typeface="ＭＳ Ｐゴシック"/>
              </a:rPr>
              <a:t>2018 können Apothekerinnen und Apotheker </a:t>
            </a:r>
            <a:r>
              <a:rPr lang="de-DE" sz="2400" dirty="0" smtClean="0">
                <a:cs typeface="ＭＳ Ｐゴシック"/>
              </a:rPr>
              <a:t>die folgenden </a:t>
            </a:r>
            <a:r>
              <a:rPr lang="de-DE" sz="2400" dirty="0">
                <a:cs typeface="ＭＳ Ｐゴシック"/>
              </a:rPr>
              <a:t>Impfungen durchführen: </a:t>
            </a:r>
          </a:p>
          <a:p>
            <a:pPr marL="274637" lvl="2" indent="0" algn="just">
              <a:buNone/>
            </a:pPr>
            <a:r>
              <a:rPr lang="de-DE" sz="2400" dirty="0"/>
              <a:t>a) Impfung gegen Grippe; </a:t>
            </a:r>
          </a:p>
          <a:p>
            <a:pPr marL="274637" lvl="2" indent="0" algn="just">
              <a:buNone/>
            </a:pPr>
            <a:r>
              <a:rPr lang="de-DE" sz="2400" dirty="0"/>
              <a:t>b) Impfung gegen Masern, Mumps und Röteln (MMR); </a:t>
            </a:r>
            <a:endParaRPr lang="fr-CH" sz="2400" dirty="0" smtClean="0"/>
          </a:p>
          <a:p>
            <a:pPr marL="274637" lvl="2" indent="0" algn="just">
              <a:buNone/>
            </a:pPr>
            <a:r>
              <a:rPr lang="de-DE" sz="2400" dirty="0"/>
              <a:t>c) Impfung gegen Tetanus; </a:t>
            </a:r>
            <a:endParaRPr lang="fr-CH" sz="2400" dirty="0" smtClean="0"/>
          </a:p>
          <a:p>
            <a:pPr marL="274637" lvl="2" indent="0" algn="just">
              <a:buNone/>
            </a:pPr>
            <a:r>
              <a:rPr lang="de-DE" sz="2400" dirty="0" smtClean="0"/>
              <a:t>d) Impfung </a:t>
            </a:r>
            <a:r>
              <a:rPr lang="de-DE" sz="2400" dirty="0"/>
              <a:t>gegen Frühsommer-</a:t>
            </a:r>
            <a:r>
              <a:rPr lang="de-DE" sz="2400" dirty="0" err="1"/>
              <a:t>Meningo</a:t>
            </a:r>
            <a:r>
              <a:rPr lang="de-DE" sz="2400" dirty="0"/>
              <a:t>-Enzephalitis (</a:t>
            </a:r>
            <a:r>
              <a:rPr lang="de-DE" sz="2400" dirty="0" smtClean="0"/>
              <a:t>Zeckenenzephalitis</a:t>
            </a:r>
            <a:r>
              <a:rPr lang="de-DE" sz="2400" dirty="0"/>
              <a:t>, FSME). </a:t>
            </a:r>
            <a:endParaRPr lang="fr-FR" sz="2400" dirty="0" smtClean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17957" y="1927160"/>
            <a:ext cx="8027454" cy="369332"/>
          </a:xfrm>
        </p:spPr>
        <p:txBody>
          <a:bodyPr/>
          <a:lstStyle/>
          <a:p>
            <a:r>
              <a:rPr lang="de-DE">
                <a:solidFill>
                  <a:srgbClr val="004DB4"/>
                </a:solidFill>
                <a:latin typeface="Arial Black"/>
                <a:sym typeface="Arial Black"/>
              </a:rPr>
              <a:t>Liste</a:t>
            </a:r>
            <a:endParaRPr lang="fr-CH" dirty="0">
              <a:solidFill>
                <a:srgbClr val="004DB4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671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Gesetzliche Grundlage (1)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28309" y="1916832"/>
            <a:ext cx="8027454" cy="3713837"/>
          </a:xfrm>
        </p:spPr>
        <p:txBody>
          <a:bodyPr/>
          <a:lstStyle/>
          <a:p>
            <a:pPr algn="just">
              <a:defRPr/>
            </a:pPr>
            <a:r>
              <a:rPr lang="de-CH" sz="2400" dirty="0" smtClean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Artikel 113 Verschreibung </a:t>
            </a:r>
            <a:endParaRPr lang="de-CH" sz="2400" dirty="0" smtClean="0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defRPr/>
            </a:pPr>
            <a:r>
              <a:rPr lang="de-CH" sz="2400" dirty="0" smtClean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                   und Anwendung von Arzneimitteln</a:t>
            </a:r>
            <a:r>
              <a:rPr lang="de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 </a:t>
            </a:r>
          </a:p>
          <a:p>
            <a:pPr algn="just">
              <a:defRPr/>
            </a:pPr>
            <a:endParaRPr lang="de-CH" sz="800" baseline="30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defRPr/>
            </a:pPr>
            <a:r>
              <a:rPr lang="de-CH" sz="2400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4</a:t>
            </a:r>
            <a:r>
              <a:rPr lang="de-CH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 Verschreibungspflichtige Arzneimittel dürfen von ... weiteren Personen gemäss Bundesrecht im Rahmen ihrer Kompetenzen ohne besondere Bewilligung der Direktion für Gesundheit und Soziales (GSD) angewendet werden. </a:t>
            </a:r>
            <a:endParaRPr lang="de-CH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defRPr/>
            </a:pPr>
            <a:r>
              <a:rPr lang="de-CH" sz="2400" dirty="0" smtClean="0">
                <a:solidFill>
                  <a:srgbClr val="99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Die GSD bezeichnet die betreffenden Arzneimittel und die Bedingungen, unter denen sie von diesen Fachpersonen angewendet werden dürfen. 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28309" y="1310017"/>
            <a:ext cx="8027454" cy="369332"/>
          </a:xfrm>
        </p:spPr>
        <p:txBody>
          <a:bodyPr/>
          <a:lstStyle/>
          <a:p>
            <a:r>
              <a:rPr lang="de-DE">
                <a:solidFill>
                  <a:srgbClr val="004DB4"/>
                </a:solidFill>
                <a:latin typeface="Arial Black"/>
                <a:sym typeface="Arial Black"/>
              </a:rPr>
              <a:t>Gesundheitsgesetz des Kantons Freiburg</a:t>
            </a:r>
            <a:endParaRPr lang="fr-CH" dirty="0">
              <a:solidFill>
                <a:srgbClr val="004DB4"/>
              </a:solidFill>
              <a:latin typeface="Arial Black" panose="020B0A04020102020204" pitchFamily="34" charset="0"/>
            </a:endParaRPr>
          </a:p>
        </p:txBody>
      </p:sp>
      <p:pic>
        <p:nvPicPr>
          <p:cNvPr id="7" name="Picture 2" descr="https://www.fr.ch/publ/files/jpg11/Vignette-RSF-2012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97369"/>
            <a:ext cx="1696604" cy="226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313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1423467"/>
          </a:xfrm>
        </p:spPr>
        <p:txBody>
          <a:bodyPr/>
          <a:lstStyle/>
          <a:p>
            <a:r>
              <a:rPr lang="de-DE"/>
              <a:t>Gesetzliche Grundlage (2)</a:t>
            </a:r>
            <a:r>
              <a:rPr lang="de-DE" b="0"/>
              <a:t/>
            </a:r>
            <a:br>
              <a:rPr lang="de-DE" b="0"/>
            </a:br>
            <a:r>
              <a:rPr lang="de-DE"/>
              <a:t/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56689" y="3733832"/>
            <a:ext cx="8027454" cy="2369880"/>
          </a:xfrm>
        </p:spPr>
        <p:txBody>
          <a:bodyPr/>
          <a:lstStyle/>
          <a:p>
            <a:pPr algn="just">
              <a:spcAft>
                <a:spcPts val="1200"/>
              </a:spcAft>
              <a:defRPr/>
            </a:pPr>
            <a:r>
              <a:rPr lang="de-DE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Die vorgenannte Verordnung ist am 1.</a:t>
            </a:r>
            <a:r>
              <a:rPr lang="de-DE" sz="2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 </a:t>
            </a:r>
            <a:r>
              <a:rPr lang="de-DE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Juli 2015 in Kraft getreten, ihre Aktualisierung am 1.</a:t>
            </a:r>
            <a:r>
              <a:rPr lang="de-DE" sz="2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 </a:t>
            </a:r>
            <a:r>
              <a:rPr lang="de-DE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September 2018. </a:t>
            </a:r>
          </a:p>
          <a:p>
            <a:pPr algn="just">
              <a:defRPr/>
            </a:pPr>
            <a:r>
              <a:rPr lang="de-DE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ＭＳ Ｐゴシック"/>
              </a:rPr>
              <a:t>Sie finden sie unter: http://www.fr.ch/publ/files/pdf76/2015_060_de.pdf oder indem Sie «ASF 2015_060 Verordnung GSD» in eine beliebige Suchmaschine eingeben. </a:t>
            </a:r>
            <a:endParaRPr lang="fr-CH" sz="2400" dirty="0">
              <a:solidFill>
                <a:srgbClr val="99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39553" y="2111090"/>
            <a:ext cx="7500075" cy="1261884"/>
          </a:xfrm>
        </p:spPr>
        <p:txBody>
          <a:bodyPr/>
          <a:lstStyle/>
          <a:p>
            <a:r>
              <a:rPr lang="de-DE">
                <a:solidFill>
                  <a:srgbClr val="004DB4"/>
                </a:solidFill>
                <a:latin typeface="Arial Black"/>
                <a:sym typeface="Arial Black"/>
              </a:rPr>
              <a:t>Verordnung vom 26. Juni 2015</a:t>
            </a:r>
          </a:p>
          <a:p>
            <a:r>
              <a:rPr lang="de-DE">
                <a:solidFill>
                  <a:srgbClr val="004DB4"/>
                </a:solidFill>
                <a:latin typeface="Arial Black"/>
                <a:sym typeface="Arial Black"/>
              </a:rPr>
              <a:t>über Impfungen </a:t>
            </a:r>
            <a:endParaRPr lang="fr-CH" dirty="0" smtClean="0">
              <a:solidFill>
                <a:srgbClr val="004DB4"/>
              </a:solidFill>
              <a:latin typeface="Arial Black" panose="020B0A04020102020204" pitchFamily="34" charset="0"/>
            </a:endParaRPr>
          </a:p>
          <a:p>
            <a:r>
              <a:rPr lang="de-DE">
                <a:solidFill>
                  <a:srgbClr val="004DB4"/>
                </a:solidFill>
                <a:latin typeface="Arial Black"/>
                <a:sym typeface="Arial Black"/>
              </a:rPr>
              <a:t>durch Apothekerinnen und Apotheker</a:t>
            </a:r>
          </a:p>
        </p:txBody>
      </p:sp>
    </p:spTree>
    <p:extLst>
      <p:ext uri="{BB962C8B-B14F-4D97-AF65-F5344CB8AC3E}">
        <p14:creationId xmlns:p14="http://schemas.microsoft.com/office/powerpoint/2010/main" val="1544752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Zu erfüllende Voraussetzungen (1) 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4070844" y="1772816"/>
            <a:ext cx="0" cy="3888432"/>
          </a:xfrm>
          <a:prstGeom prst="line">
            <a:avLst/>
          </a:prstGeom>
          <a:ln w="57150">
            <a:solidFill>
              <a:srgbClr val="004DB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2054620" y="3573016"/>
            <a:ext cx="4464496" cy="0"/>
          </a:xfrm>
          <a:prstGeom prst="line">
            <a:avLst/>
          </a:prstGeom>
          <a:ln w="57150">
            <a:solidFill>
              <a:srgbClr val="004DB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337727" y="1639376"/>
            <a:ext cx="343378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rgbClr val="004DB4"/>
                </a:solidFill>
                <a:latin typeface="Arial Black"/>
                <a:sym typeface="Arial Black"/>
              </a:rPr>
              <a:t>1. </a:t>
            </a:r>
          </a:p>
          <a:p>
            <a:r>
              <a:rPr lang="de-DE" sz="2400" dirty="0"/>
              <a:t>A</a:t>
            </a:r>
            <a:r>
              <a:rPr lang="de-DE" sz="2400" dirty="0" smtClean="0"/>
              <a:t>nerkannte </a:t>
            </a:r>
            <a:r>
              <a:rPr lang="de-DE" sz="2400" dirty="0"/>
              <a:t>spezifische </a:t>
            </a:r>
            <a:r>
              <a:rPr lang="de-DE" sz="2400" dirty="0" smtClean="0"/>
              <a:t>Ausbildung.</a:t>
            </a:r>
            <a:endParaRPr lang="fr-FR" sz="2400" dirty="0"/>
          </a:p>
        </p:txBody>
      </p:sp>
      <p:sp>
        <p:nvSpPr>
          <p:cNvPr id="11" name="Rectangle 10"/>
          <p:cNvSpPr/>
          <p:nvPr/>
        </p:nvSpPr>
        <p:spPr>
          <a:xfrm>
            <a:off x="4167296" y="1639376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 dirty="0">
                <a:solidFill>
                  <a:srgbClr val="004DB4"/>
                </a:solidFill>
                <a:latin typeface="Arial Black"/>
                <a:sym typeface="Arial Black"/>
              </a:rPr>
              <a:t>2. </a:t>
            </a:r>
            <a:r>
              <a:rPr lang="de-DE" sz="2400" dirty="0"/>
              <a:t> </a:t>
            </a:r>
          </a:p>
          <a:p>
            <a:r>
              <a:rPr lang="de-DE" sz="2400" dirty="0"/>
              <a:t>A</a:t>
            </a:r>
            <a:r>
              <a:rPr lang="de-DE" sz="2400" dirty="0" smtClean="0"/>
              <a:t>kustisch </a:t>
            </a:r>
            <a:r>
              <a:rPr lang="de-DE" sz="2400" dirty="0"/>
              <a:t>und optisch abgetrennter Raum und</a:t>
            </a:r>
          </a:p>
          <a:p>
            <a:r>
              <a:rPr lang="de-DE" sz="2400" dirty="0"/>
              <a:t>strikte </a:t>
            </a:r>
            <a:r>
              <a:rPr lang="de-DE" sz="2400" dirty="0" smtClean="0"/>
              <a:t>Hygiene.</a:t>
            </a:r>
            <a:endParaRPr lang="fr-FR" sz="2400" dirty="0"/>
          </a:p>
        </p:txBody>
      </p:sp>
      <p:sp>
        <p:nvSpPr>
          <p:cNvPr id="12" name="Rectangle 11"/>
          <p:cNvSpPr/>
          <p:nvPr/>
        </p:nvSpPr>
        <p:spPr>
          <a:xfrm>
            <a:off x="557017" y="3936997"/>
            <a:ext cx="302433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rgbClr val="004DB4"/>
                </a:solidFill>
                <a:latin typeface="Arial Black"/>
                <a:sym typeface="Arial Black"/>
              </a:rPr>
              <a:t>3. </a:t>
            </a:r>
            <a:endParaRPr lang="fr-CH" sz="2400" dirty="0">
              <a:solidFill>
                <a:srgbClr val="004DB4"/>
              </a:solidFill>
              <a:latin typeface="Arial Black" panose="020B0A04020102020204" pitchFamily="34" charset="0"/>
            </a:endParaRPr>
          </a:p>
          <a:p>
            <a:r>
              <a:rPr lang="de-CH" sz="2400" dirty="0" smtClean="0"/>
              <a:t>Zweckmässiges Verfahren zum Vorgehen in Notfällen. </a:t>
            </a:r>
            <a:endParaRPr lang="de-CH" sz="2400" dirty="0"/>
          </a:p>
        </p:txBody>
      </p:sp>
      <p:sp>
        <p:nvSpPr>
          <p:cNvPr id="13" name="Rectangle 12"/>
          <p:cNvSpPr/>
          <p:nvPr/>
        </p:nvSpPr>
        <p:spPr>
          <a:xfrm>
            <a:off x="4261880" y="3936997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2400">
                <a:solidFill>
                  <a:srgbClr val="004DB4"/>
                </a:solidFill>
                <a:latin typeface="Arial Black"/>
                <a:sym typeface="Arial Black"/>
              </a:rPr>
              <a:t>4. </a:t>
            </a:r>
            <a:endParaRPr lang="fr-CH" sz="2400" dirty="0">
              <a:solidFill>
                <a:srgbClr val="004DB4"/>
              </a:solidFill>
              <a:latin typeface="Arial Black" panose="020B0A04020102020204" pitchFamily="34" charset="0"/>
            </a:endParaRPr>
          </a:p>
          <a:p>
            <a:r>
              <a:rPr lang="de-DE" sz="2400"/>
              <a:t>Haftpflichtversicherung zur Deckung des spezifischen Risikos der Impftätigkeit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10481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necteur droit 5"/>
          <p:cNvCxnSpPr/>
          <p:nvPr/>
        </p:nvCxnSpPr>
        <p:spPr>
          <a:xfrm>
            <a:off x="2800704" y="4984986"/>
            <a:ext cx="3312368" cy="0"/>
          </a:xfrm>
          <a:prstGeom prst="line">
            <a:avLst/>
          </a:prstGeom>
          <a:ln w="34925">
            <a:solidFill>
              <a:srgbClr val="002C77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Zu erfüllende Voraussetzungen (2) 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11560" y="1340768"/>
            <a:ext cx="7690657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>
                <a:solidFill>
                  <a:srgbClr val="004DB4"/>
                </a:solidFill>
                <a:latin typeface="Arial Black"/>
                <a:sym typeface="Arial Black"/>
              </a:rPr>
              <a:t>5. </a:t>
            </a:r>
          </a:p>
          <a:p>
            <a:pPr>
              <a:spcAft>
                <a:spcPts val="1200"/>
              </a:spcAft>
            </a:pPr>
            <a:r>
              <a:rPr lang="de-DE" sz="2400"/>
              <a:t> Vorgängige Anmeldung bei der Kantonsapothekerin/beim Kantonsapotheker mit dem dafür vorgesehenen Formular, zu finden auf der Homepage des kantonalen Amts für Gesundheit</a:t>
            </a:r>
          </a:p>
          <a:p>
            <a:r>
              <a:rPr lang="de-DE" sz="2400" b="1"/>
              <a:t>(</a:t>
            </a:r>
            <a:r>
              <a:rPr lang="de-DE" sz="2400" b="1">
                <a:solidFill>
                  <a:srgbClr val="004DB4"/>
                </a:solidFill>
              </a:rPr>
              <a:t>www.fr.ch/gesa</a:t>
            </a:r>
            <a:r>
              <a:rPr lang="de-DE" sz="2400" b="1"/>
              <a:t>)</a:t>
            </a:r>
            <a:r>
              <a:rPr lang="de-DE" sz="2400"/>
              <a:t> </a:t>
            </a:r>
          </a:p>
          <a:p>
            <a:endParaRPr lang="fr-FR" sz="2400" dirty="0"/>
          </a:p>
        </p:txBody>
      </p:sp>
      <p:sp>
        <p:nvSpPr>
          <p:cNvPr id="2" name="Rectangle 1"/>
          <p:cNvSpPr/>
          <p:nvPr/>
        </p:nvSpPr>
        <p:spPr>
          <a:xfrm>
            <a:off x="793502" y="4569488"/>
            <a:ext cx="196079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b="1" dirty="0" smtClean="0"/>
              <a:t>Vorgängige </a:t>
            </a:r>
          </a:p>
          <a:p>
            <a:r>
              <a:rPr lang="de-DE" sz="2400" b="1" dirty="0" smtClean="0"/>
              <a:t>Anmeldung </a:t>
            </a:r>
            <a:endParaRPr lang="fr-CH" sz="2400" b="1" dirty="0" smtClean="0"/>
          </a:p>
        </p:txBody>
      </p:sp>
      <p:sp>
        <p:nvSpPr>
          <p:cNvPr id="3" name="Rectangle 2"/>
          <p:cNvSpPr/>
          <p:nvPr/>
        </p:nvSpPr>
        <p:spPr>
          <a:xfrm>
            <a:off x="6438051" y="4569487"/>
            <a:ext cx="218361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b="1" dirty="0" smtClean="0"/>
              <a:t>Kantons-</a:t>
            </a:r>
          </a:p>
          <a:p>
            <a:r>
              <a:rPr lang="de-DE" sz="2400" b="1" dirty="0" err="1" smtClean="0"/>
              <a:t>apotheker</a:t>
            </a:r>
            <a:r>
              <a:rPr lang="de-DE" sz="2400" b="1" dirty="0" smtClean="0"/>
              <a:t>/in  </a:t>
            </a:r>
            <a:endParaRPr lang="fr-CH" sz="2400" b="1" dirty="0"/>
          </a:p>
        </p:txBody>
      </p:sp>
      <p:pic>
        <p:nvPicPr>
          <p:cNvPr id="239627" name="Picture 11" descr="http://www.vvmac.com/pages/images/formulaire-Bouto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8776" y="4137440"/>
            <a:ext cx="2016224" cy="181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99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1897955"/>
          </a:xfrm>
        </p:spPr>
        <p:txBody>
          <a:bodyPr/>
          <a:lstStyle/>
          <a:p>
            <a:r>
              <a:rPr lang="de-DE"/>
              <a:t>Liste der Apotheken mit den</a:t>
            </a:r>
            <a:br>
              <a:rPr lang="de-DE"/>
            </a:br>
            <a:r>
              <a:rPr lang="de-DE"/>
              <a:t>Namen der zum Impfen befugten </a:t>
            </a:r>
            <a:br>
              <a:rPr lang="de-DE"/>
            </a:br>
            <a:r>
              <a:rPr lang="de-DE"/>
              <a:t>Personen 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83568" y="2420888"/>
            <a:ext cx="769065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/>
              <a:t>Das Amt für Gesundheit </a:t>
            </a:r>
            <a:r>
              <a:rPr lang="de-DE" sz="2400" dirty="0" smtClean="0"/>
              <a:t>führt </a:t>
            </a:r>
            <a:r>
              <a:rPr lang="de-DE" sz="2400" dirty="0"/>
              <a:t>auf seiner Homepage eine </a:t>
            </a:r>
            <a:r>
              <a:rPr lang="de-CH" sz="2400" dirty="0"/>
              <a:t>alphabetisch nach Orten sortierte Liste </a:t>
            </a:r>
            <a:r>
              <a:rPr lang="de-DE" sz="2400" dirty="0" smtClean="0"/>
              <a:t>mit </a:t>
            </a:r>
            <a:r>
              <a:rPr lang="de-DE" sz="2400" dirty="0"/>
              <a:t>allen Apotheken </a:t>
            </a:r>
            <a:r>
              <a:rPr lang="de-DE" sz="2400" dirty="0" smtClean="0"/>
              <a:t>und </a:t>
            </a:r>
            <a:r>
              <a:rPr lang="de-DE" sz="2400" dirty="0"/>
              <a:t>Personen, die Impfungen durchführen </a:t>
            </a:r>
            <a:r>
              <a:rPr lang="de-DE" sz="2400" dirty="0" smtClean="0"/>
              <a:t>können und </a:t>
            </a:r>
            <a:r>
              <a:rPr lang="de-DE" sz="2400" dirty="0"/>
              <a:t>die nötigen Anforderungen </a:t>
            </a:r>
            <a:r>
              <a:rPr lang="de-DE" sz="2400" dirty="0" smtClean="0"/>
              <a:t>erfüllen</a:t>
            </a:r>
            <a:endParaRPr lang="de-DE" sz="2400" dirty="0"/>
          </a:p>
          <a:p>
            <a:r>
              <a:rPr lang="de-DE" sz="2400" b="1" dirty="0"/>
              <a:t>(</a:t>
            </a:r>
            <a:r>
              <a:rPr lang="de-DE" sz="2400" b="1" dirty="0">
                <a:solidFill>
                  <a:srgbClr val="004DB4"/>
                </a:solidFill>
              </a:rPr>
              <a:t>www.fr.ch/gesa</a:t>
            </a:r>
            <a:r>
              <a:rPr lang="de-DE" sz="2400" b="1" dirty="0"/>
              <a:t>)</a:t>
            </a:r>
            <a:r>
              <a:rPr lang="de-DE" sz="2400" dirty="0"/>
              <a:t> </a:t>
            </a:r>
          </a:p>
          <a:p>
            <a:r>
              <a:rPr lang="de-DE" sz="2400" dirty="0"/>
              <a:t> 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114857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39553" y="326419"/>
            <a:ext cx="8292441" cy="948978"/>
          </a:xfrm>
        </p:spPr>
        <p:txBody>
          <a:bodyPr/>
          <a:lstStyle/>
          <a:p>
            <a:r>
              <a:rPr lang="de-DE"/>
              <a:t>Impfkosten</a:t>
            </a:r>
            <a:br>
              <a:rPr lang="de-DE"/>
            </a:br>
            <a:r>
              <a:rPr lang="de-DE"/>
              <a:t>—</a:t>
            </a:r>
            <a:endParaRPr lang="fr-CH" dirty="0"/>
          </a:p>
        </p:txBody>
      </p:sp>
      <p:sp>
        <p:nvSpPr>
          <p:cNvPr id="9" name="Rectangle 8"/>
          <p:cNvSpPr/>
          <p:nvPr/>
        </p:nvSpPr>
        <p:spPr>
          <a:xfrm>
            <a:off x="683567" y="2276872"/>
            <a:ext cx="769065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2400" dirty="0" smtClean="0"/>
              <a:t>Die GSD ist nicht an der Festsetzung </a:t>
            </a:r>
          </a:p>
          <a:p>
            <a:r>
              <a:rPr lang="de-CH" sz="2400" dirty="0" smtClean="0"/>
              <a:t>der Impfkosten beteiligt. </a:t>
            </a:r>
          </a:p>
          <a:p>
            <a:endParaRPr lang="de-CH" sz="2400" dirty="0" smtClean="0"/>
          </a:p>
          <a:p>
            <a:r>
              <a:rPr lang="de-CH" sz="2400" dirty="0" smtClean="0"/>
              <a:t>Gemäss </a:t>
            </a:r>
            <a:r>
              <a:rPr lang="de-CH" sz="2400" dirty="0" err="1" smtClean="0"/>
              <a:t>pharmaSuisse</a:t>
            </a:r>
            <a:r>
              <a:rPr lang="de-CH" sz="2400" dirty="0" smtClean="0"/>
              <a:t> und dem Apothekerverband des Kantons Freiburg belaufen sich die Kosten einer Grippeimpfung insgesamt auf rund 40 Franken </a:t>
            </a:r>
          </a:p>
          <a:p>
            <a:r>
              <a:rPr lang="de-CH" sz="2400" dirty="0" smtClean="0"/>
              <a:t>(alles inklusive).</a:t>
            </a:r>
            <a:endParaRPr lang="de-CH" sz="2400" dirty="0"/>
          </a:p>
        </p:txBody>
      </p:sp>
    </p:spTree>
    <p:extLst>
      <p:ext uri="{BB962C8B-B14F-4D97-AF65-F5344CB8AC3E}">
        <p14:creationId xmlns:p14="http://schemas.microsoft.com/office/powerpoint/2010/main" val="3305257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heme/theme1.xml><?xml version="1.0" encoding="utf-8"?>
<a:theme xmlns:a="http://schemas.openxmlformats.org/drawingml/2006/main" name="DSAS_présentation_fr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SAS_présentation_fr</Template>
  <TotalTime>0</TotalTime>
  <Words>451</Words>
  <Application>Microsoft Office PowerPoint</Application>
  <PresentationFormat>Affichage à l'écran (4:3)</PresentationFormat>
  <Paragraphs>73</Paragraphs>
  <Slides>11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18" baseType="lpstr">
      <vt:lpstr>ＭＳ Ｐゴシック</vt:lpstr>
      <vt:lpstr>Arial</vt:lpstr>
      <vt:lpstr>Arial Black</vt:lpstr>
      <vt:lpstr>Calibri</vt:lpstr>
      <vt:lpstr>Lucida Grande</vt:lpstr>
      <vt:lpstr>DSAS_présentation_fr</vt:lpstr>
      <vt:lpstr>think-cell Slide</vt:lpstr>
      <vt:lpstr>Impfung durch die Apothekerinnen und Apotheker in den öffentlichen Apotheken des Kantons Freiburg —</vt:lpstr>
      <vt:lpstr>Ziel und Zielpublikum —</vt:lpstr>
      <vt:lpstr>Impfangebot —</vt:lpstr>
      <vt:lpstr>Gesetzliche Grundlage (1) —</vt:lpstr>
      <vt:lpstr>Gesetzliche Grundlage (2)  —</vt:lpstr>
      <vt:lpstr>Zu erfüllende Voraussetzungen (1)  —</vt:lpstr>
      <vt:lpstr>Zu erfüllende Voraussetzungen (2)  —</vt:lpstr>
      <vt:lpstr>Liste der Apotheken mit den Namen der zum Impfen befugten  Personen  —</vt:lpstr>
      <vt:lpstr>Impfkosten —</vt:lpstr>
      <vt:lpstr>Verstösse ‒ Konsequenzen —</vt:lpstr>
      <vt:lpstr>Elektronisches Impfbüchlein —</vt:lpstr>
    </vt:vector>
  </TitlesOfParts>
  <Company>Sit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laupercl</dc:creator>
  <cp:lastModifiedBy>Michel-Clément Joëlle</cp:lastModifiedBy>
  <cp:revision>85</cp:revision>
  <cp:lastPrinted>2010-03-18T08:00:30Z</cp:lastPrinted>
  <dcterms:created xsi:type="dcterms:W3CDTF">2011-09-05T15:03:05Z</dcterms:created>
  <dcterms:modified xsi:type="dcterms:W3CDTF">2019-09-18T05:40:37Z</dcterms:modified>
</cp:coreProperties>
</file>